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3" r:id="rId5"/>
    <p:sldMasterId id="2147483747" r:id="rId6"/>
    <p:sldMasterId id="2147483771" r:id="rId7"/>
    <p:sldMasterId id="2147483783" r:id="rId8"/>
    <p:sldMasterId id="2147483852" r:id="rId9"/>
    <p:sldMasterId id="2147483877" r:id="rId10"/>
  </p:sldMasterIdLst>
  <p:notesMasterIdLst>
    <p:notesMasterId r:id="rId28"/>
  </p:notesMasterIdLst>
  <p:sldIdLst>
    <p:sldId id="391" r:id="rId11"/>
    <p:sldId id="425" r:id="rId12"/>
    <p:sldId id="409" r:id="rId13"/>
    <p:sldId id="416" r:id="rId14"/>
    <p:sldId id="417" r:id="rId15"/>
    <p:sldId id="418" r:id="rId16"/>
    <p:sldId id="421" r:id="rId17"/>
    <p:sldId id="419" r:id="rId18"/>
    <p:sldId id="420" r:id="rId19"/>
    <p:sldId id="430" r:id="rId20"/>
    <p:sldId id="428" r:id="rId21"/>
    <p:sldId id="429" r:id="rId22"/>
    <p:sldId id="427" r:id="rId23"/>
    <p:sldId id="422" r:id="rId24"/>
    <p:sldId id="426" r:id="rId25"/>
    <p:sldId id="424" r:id="rId26"/>
    <p:sldId id="401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CEDED"/>
    <a:srgbClr val="00AA5A"/>
    <a:srgbClr val="007BDF"/>
    <a:srgbClr val="006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D13F2B-5C3F-4863-A393-91FEE3CED053}" v="1" dt="2023-05-16T19:18:23.0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89606" autoAdjust="0"/>
  </p:normalViewPr>
  <p:slideViewPr>
    <p:cSldViewPr snapToGrid="0">
      <p:cViewPr varScale="1">
        <p:scale>
          <a:sx n="47" d="100"/>
          <a:sy n="47" d="100"/>
        </p:scale>
        <p:origin x="957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90" d="100"/>
          <a:sy n="90" d="100"/>
        </p:scale>
        <p:origin x="2034" y="-20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is Manuel Pereira Reis" userId="fecb19c8-7e00-4a5d-82a9-0315918f464b" providerId="ADAL" clId="{D8966C78-BF56-4E77-94BF-807E6C53236C}"/>
    <pc:docChg chg="modSld">
      <pc:chgData name="Luis Manuel Pereira Reis" userId="fecb19c8-7e00-4a5d-82a9-0315918f464b" providerId="ADAL" clId="{D8966C78-BF56-4E77-94BF-807E6C53236C}" dt="2022-07-25T09:43:05.994" v="68" actId="20577"/>
      <pc:docMkLst>
        <pc:docMk/>
      </pc:docMkLst>
      <pc:sldChg chg="modSp mod">
        <pc:chgData name="Luis Manuel Pereira Reis" userId="fecb19c8-7e00-4a5d-82a9-0315918f464b" providerId="ADAL" clId="{D8966C78-BF56-4E77-94BF-807E6C53236C}" dt="2022-07-25T09:43:05.994" v="68" actId="20577"/>
        <pc:sldMkLst>
          <pc:docMk/>
          <pc:sldMk cId="1252288932" sldId="424"/>
        </pc:sldMkLst>
        <pc:spChg chg="mod">
          <ac:chgData name="Luis Manuel Pereira Reis" userId="fecb19c8-7e00-4a5d-82a9-0315918f464b" providerId="ADAL" clId="{D8966C78-BF56-4E77-94BF-807E6C53236C}" dt="2022-07-25T09:43:05.994" v="68" actId="20577"/>
          <ac:spMkLst>
            <pc:docMk/>
            <pc:sldMk cId="1252288932" sldId="424"/>
            <ac:spMk id="6" creationId="{00000000-0000-0000-0000-000000000000}"/>
          </ac:spMkLst>
        </pc:spChg>
      </pc:sldChg>
    </pc:docChg>
  </pc:docChgLst>
  <pc:docChgLst>
    <pc:chgData name="Luis Manuel Pereira Reis" userId="fecb19c8-7e00-4a5d-82a9-0315918f464b" providerId="ADAL" clId="{73D13F2B-5C3F-4863-A393-91FEE3CED053}"/>
    <pc:docChg chg="undo custSel addSld modSld sldOrd">
      <pc:chgData name="Luis Manuel Pereira Reis" userId="fecb19c8-7e00-4a5d-82a9-0315918f464b" providerId="ADAL" clId="{73D13F2B-5C3F-4863-A393-91FEE3CED053}" dt="2023-09-11T17:43:54.495" v="300" actId="20577"/>
      <pc:docMkLst>
        <pc:docMk/>
      </pc:docMkLst>
      <pc:sldChg chg="addSp delSp modSp mod">
        <pc:chgData name="Luis Manuel Pereira Reis" userId="fecb19c8-7e00-4a5d-82a9-0315918f464b" providerId="ADAL" clId="{73D13F2B-5C3F-4863-A393-91FEE3CED053}" dt="2023-05-16T19:18:25.496" v="2" actId="27614"/>
        <pc:sldMkLst>
          <pc:docMk/>
          <pc:sldMk cId="2246891037" sldId="391"/>
        </pc:sldMkLst>
        <pc:picChg chg="add mod">
          <ac:chgData name="Luis Manuel Pereira Reis" userId="fecb19c8-7e00-4a5d-82a9-0315918f464b" providerId="ADAL" clId="{73D13F2B-5C3F-4863-A393-91FEE3CED053}" dt="2023-05-16T19:18:25.496" v="2" actId="27614"/>
          <ac:picMkLst>
            <pc:docMk/>
            <pc:sldMk cId="2246891037" sldId="391"/>
            <ac:picMk id="3" creationId="{D19E1B1C-2330-6EA5-EB3D-F4E88A3CE0F3}"/>
          </ac:picMkLst>
        </pc:picChg>
        <pc:picChg chg="del">
          <ac:chgData name="Luis Manuel Pereira Reis" userId="fecb19c8-7e00-4a5d-82a9-0315918f464b" providerId="ADAL" clId="{73D13F2B-5C3F-4863-A393-91FEE3CED053}" dt="2023-05-16T19:18:21.745" v="0" actId="478"/>
          <ac:picMkLst>
            <pc:docMk/>
            <pc:sldMk cId="2246891037" sldId="391"/>
            <ac:picMk id="4" creationId="{F45D53D6-9865-47F0-99E6-C2D1F6C42C2D}"/>
          </ac:picMkLst>
        </pc:picChg>
      </pc:sldChg>
      <pc:sldChg chg="modSp mod">
        <pc:chgData name="Luis Manuel Pereira Reis" userId="fecb19c8-7e00-4a5d-82a9-0315918f464b" providerId="ADAL" clId="{73D13F2B-5C3F-4863-A393-91FEE3CED053}" dt="2023-05-16T19:25:56.745" v="8" actId="20577"/>
        <pc:sldMkLst>
          <pc:docMk/>
          <pc:sldMk cId="2409216997" sldId="401"/>
        </pc:sldMkLst>
        <pc:spChg chg="mod">
          <ac:chgData name="Luis Manuel Pereira Reis" userId="fecb19c8-7e00-4a5d-82a9-0315918f464b" providerId="ADAL" clId="{73D13F2B-5C3F-4863-A393-91FEE3CED053}" dt="2023-05-16T19:25:56.745" v="8" actId="20577"/>
          <ac:spMkLst>
            <pc:docMk/>
            <pc:sldMk cId="2409216997" sldId="401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9-11T17:43:54.495" v="300" actId="20577"/>
        <pc:sldMkLst>
          <pc:docMk/>
          <pc:sldMk cId="1252288932" sldId="424"/>
        </pc:sldMkLst>
        <pc:spChg chg="mod">
          <ac:chgData name="Luis Manuel Pereira Reis" userId="fecb19c8-7e00-4a5d-82a9-0315918f464b" providerId="ADAL" clId="{73D13F2B-5C3F-4863-A393-91FEE3CED053}" dt="2023-09-11T17:43:54.495" v="300" actId="20577"/>
          <ac:spMkLst>
            <pc:docMk/>
            <pc:sldMk cId="1252288932" sldId="424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5-29T12:17:22.294" v="234" actId="20577"/>
        <pc:sldMkLst>
          <pc:docMk/>
          <pc:sldMk cId="1760938681" sldId="425"/>
        </pc:sldMkLst>
        <pc:spChg chg="mod">
          <ac:chgData name="Luis Manuel Pereira Reis" userId="fecb19c8-7e00-4a5d-82a9-0315918f464b" providerId="ADAL" clId="{73D13F2B-5C3F-4863-A393-91FEE3CED053}" dt="2023-05-29T12:17:22.294" v="234" actId="20577"/>
          <ac:spMkLst>
            <pc:docMk/>
            <pc:sldMk cId="1760938681" sldId="425"/>
            <ac:spMk id="6" creationId="{00000000-0000-0000-0000-000000000000}"/>
          </ac:spMkLst>
        </pc:spChg>
      </pc:sldChg>
      <pc:sldChg chg="modSp mod">
        <pc:chgData name="Luis Manuel Pereira Reis" userId="fecb19c8-7e00-4a5d-82a9-0315918f464b" providerId="ADAL" clId="{73D13F2B-5C3F-4863-A393-91FEE3CED053}" dt="2023-05-29T16:53:12.035" v="238" actId="6549"/>
        <pc:sldMkLst>
          <pc:docMk/>
          <pc:sldMk cId="2282690157" sldId="427"/>
        </pc:sldMkLst>
        <pc:spChg chg="mod">
          <ac:chgData name="Luis Manuel Pereira Reis" userId="fecb19c8-7e00-4a5d-82a9-0315918f464b" providerId="ADAL" clId="{73D13F2B-5C3F-4863-A393-91FEE3CED053}" dt="2023-05-29T11:49:45.295" v="95" actId="20577"/>
          <ac:spMkLst>
            <pc:docMk/>
            <pc:sldMk cId="2282690157" sldId="427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3:12.035" v="238" actId="6549"/>
          <ac:spMkLst>
            <pc:docMk/>
            <pc:sldMk cId="2282690157" sldId="427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6:50:35.492" v="235" actId="6549"/>
        <pc:sldMkLst>
          <pc:docMk/>
          <pc:sldMk cId="1792471798" sldId="428"/>
        </pc:sldMkLst>
        <pc:spChg chg="mod">
          <ac:chgData name="Luis Manuel Pereira Reis" userId="fecb19c8-7e00-4a5d-82a9-0315918f464b" providerId="ADAL" clId="{73D13F2B-5C3F-4863-A393-91FEE3CED053}" dt="2023-05-29T11:45:42.563" v="79" actId="20577"/>
          <ac:spMkLst>
            <pc:docMk/>
            <pc:sldMk cId="1792471798" sldId="428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0:35.492" v="235" actId="6549"/>
          <ac:spMkLst>
            <pc:docMk/>
            <pc:sldMk cId="1792471798" sldId="428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6:52:56.817" v="237" actId="20577"/>
        <pc:sldMkLst>
          <pc:docMk/>
          <pc:sldMk cId="190825869" sldId="429"/>
        </pc:sldMkLst>
        <pc:spChg chg="mod">
          <ac:chgData name="Luis Manuel Pereira Reis" userId="fecb19c8-7e00-4a5d-82a9-0315918f464b" providerId="ADAL" clId="{73D13F2B-5C3F-4863-A393-91FEE3CED053}" dt="2023-05-29T11:46:28.238" v="81" actId="20577"/>
          <ac:spMkLst>
            <pc:docMk/>
            <pc:sldMk cId="190825869" sldId="429"/>
            <ac:spMk id="3" creationId="{00000000-0000-0000-0000-000000000000}"/>
          </ac:spMkLst>
        </pc:spChg>
        <pc:spChg chg="mod">
          <ac:chgData name="Luis Manuel Pereira Reis" userId="fecb19c8-7e00-4a5d-82a9-0315918f464b" providerId="ADAL" clId="{73D13F2B-5C3F-4863-A393-91FEE3CED053}" dt="2023-05-29T16:52:56.817" v="237" actId="20577"/>
          <ac:spMkLst>
            <pc:docMk/>
            <pc:sldMk cId="190825869" sldId="429"/>
            <ac:spMk id="6" creationId="{00000000-0000-0000-0000-000000000000}"/>
          </ac:spMkLst>
        </pc:spChg>
      </pc:sldChg>
      <pc:sldChg chg="modSp add mod ord">
        <pc:chgData name="Luis Manuel Pereira Reis" userId="fecb19c8-7e00-4a5d-82a9-0315918f464b" providerId="ADAL" clId="{73D13F2B-5C3F-4863-A393-91FEE3CED053}" dt="2023-05-29T12:00:20.524" v="185" actId="20577"/>
        <pc:sldMkLst>
          <pc:docMk/>
          <pc:sldMk cId="8400804" sldId="430"/>
        </pc:sldMkLst>
        <pc:spChg chg="mod">
          <ac:chgData name="Luis Manuel Pereira Reis" userId="fecb19c8-7e00-4a5d-82a9-0315918f464b" providerId="ADAL" clId="{73D13F2B-5C3F-4863-A393-91FEE3CED053}" dt="2023-05-29T12:00:20.524" v="185" actId="20577"/>
          <ac:spMkLst>
            <pc:docMk/>
            <pc:sldMk cId="8400804" sldId="430"/>
            <ac:spMk id="6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579CCF-33C9-49D0-94E7-84F9DB269284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BBD8EF-6748-4297-9383-AAE2AF524250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94576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3CF100-8EEA-49B4-9BCE-73804A98BA47}" type="slidenum">
              <a:rPr lang="pt-PT" smtClean="0">
                <a:solidFill>
                  <a:prstClr val="black"/>
                </a:solidFill>
              </a:rPr>
              <a:pPr/>
              <a:t>1</a:t>
            </a:fld>
            <a:endParaRPr lang="pt-P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75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0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21997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007513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173921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165229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608874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47174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1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48313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01334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4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5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7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8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BBD8EF-6748-4297-9383-AAE2AF524250}" type="slidenum">
              <a:rPr lang="pt-PT" smtClean="0"/>
              <a:pPr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06727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5" Type="http://schemas.openxmlformats.org/officeDocument/2006/relationships/image" Target="../media/image10.jpeg"/><Relationship Id="rId4" Type="http://schemas.openxmlformats.org/officeDocument/2006/relationships/image" Target="../media/image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04204519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9991394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2407896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9/11/2023</a:t>
            </a:fld>
            <a:endParaRPr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78859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9/11/202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4672110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9/11/202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66904487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20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0782647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466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67976370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7195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36492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A63027-B0F0-43C5-88B2-DBB63AB8EE46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18670472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9473241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769250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6912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70373684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73944370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88801932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3815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68476670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4549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8469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30900387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25299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028349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3829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141738098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20063278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71055254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8824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471976276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375407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16292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115957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8092556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561285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91618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409087910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544582171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274813552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white_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29_06_2017_ALTICE_PPT_NEW_2-05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6081276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4CE130-0319-6747-B8AE-26CF719C91D5}" type="datetime1">
              <a:rPr lang="en-US"/>
              <a:pPr/>
              <a:t>9/11/2023</a:t>
            </a:fld>
            <a:endParaRPr dirty="0"/>
          </a:p>
        </p:txBody>
      </p:sp>
      <p:grpSp>
        <p:nvGrpSpPr>
          <p:cNvPr id="2" name="Group 25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7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9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30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2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3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34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35" name="Rectangle 34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8" name="Rectangle 37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0" name="Rectangle 39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4141902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black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804" y="0"/>
            <a:ext cx="12192000" cy="6860032"/>
          </a:xfrm>
          <a:prstGeom prst="rect">
            <a:avLst/>
          </a:prstGeom>
        </p:spPr>
      </p:pic>
      <p:pic>
        <p:nvPicPr>
          <p:cNvPr id="9" name="Image 8" descr="altice_logo_rev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1927" y="5157192"/>
            <a:ext cx="1296000" cy="1488000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2" y="2249019"/>
            <a:ext cx="11137900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2" y="3525011"/>
            <a:ext cx="11137900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2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7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69038F06-08D1-6E40-8684-B5F3AD0D6B23}" type="datetime1">
              <a:rPr lang="en-US"/>
              <a:pPr/>
              <a:t>9/11/202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920827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 descr="29_05_2017_ALTICE_PPT_NEW_11-1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3996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383" y="2249019"/>
            <a:ext cx="9697077" cy="1252992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4267" b="1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itle of the presentation</a:t>
            </a:r>
            <a:br>
              <a:rPr lang="en-US" noProof="0" dirty="0"/>
            </a:br>
            <a:r>
              <a:rPr lang="en-US" noProof="0" dirty="0"/>
              <a:t>two lines maximum – Arial bold</a:t>
            </a:r>
          </a:p>
        </p:txBody>
      </p:sp>
      <p:pic>
        <p:nvPicPr>
          <p:cNvPr id="3" name="Image 2" descr="altice_logo_pos_pr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8875" y="5157192"/>
            <a:ext cx="1296144" cy="1488165"/>
          </a:xfrm>
          <a:prstGeom prst="rect">
            <a:avLst/>
          </a:prstGeom>
        </p:spPr>
      </p:pic>
      <p:sp>
        <p:nvSpPr>
          <p:cNvPr id="10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27383" y="3525011"/>
            <a:ext cx="9697077" cy="939744"/>
          </a:xfrm>
          <a:noFill/>
        </p:spPr>
        <p:txBody>
          <a:bodyPr>
            <a:no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200" b="0" baseline="0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533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Sub-title of the presentation</a:t>
            </a:r>
            <a:br>
              <a:rPr lang="en-US" noProof="0" dirty="0"/>
            </a:br>
            <a:r>
              <a:rPr lang="en-US" noProof="0" dirty="0"/>
              <a:t>two lines maximum - Arial</a:t>
            </a:r>
          </a:p>
        </p:txBody>
      </p:sp>
      <p:sp>
        <p:nvSpPr>
          <p:cNvPr id="1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527381" y="4787234"/>
            <a:ext cx="2448272" cy="366183"/>
          </a:xfrm>
          <a:prstGeom prst="rect">
            <a:avLst/>
          </a:prstGeom>
        </p:spPr>
        <p:txBody>
          <a:bodyPr vert="horz" lIns="0" tIns="0" rIns="0" bIns="10800" rtlCol="0" anchor="ctr" anchorCtr="0">
            <a:noAutofit/>
          </a:bodyPr>
          <a:lstStyle>
            <a:lvl1pPr algn="l">
              <a:defRPr lang="fr-FR" sz="2667" b="1" smtClean="0">
                <a:solidFill>
                  <a:srgbClr val="8E8E8E"/>
                </a:solidFill>
              </a:defRPr>
            </a:lvl1pPr>
          </a:lstStyle>
          <a:p>
            <a:fld id="{9C3F12C0-BC01-4A41-BAC5-C650BD6CCD8B}" type="datetime1">
              <a:rPr lang="en-US"/>
              <a:pPr/>
              <a:t>9/11/2023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4100279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buClrTx/>
              <a:buNone/>
              <a:defRPr/>
            </a:lvl1pPr>
          </a:lstStyle>
          <a:p>
            <a:r>
              <a:rPr lang="en-US" noProof="0" dirty="0"/>
              <a:t>Summary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>
          <a:xfrm>
            <a:off x="717798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19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717798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717798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699105" y="1988840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5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99105" y="3715709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27" name="Espace réservé du texte 10"/>
          <p:cNvSpPr>
            <a:spLocks noGrp="1"/>
          </p:cNvSpPr>
          <p:nvPr>
            <p:ph type="body" sz="quarter" idx="18" hasCustomPrompt="1"/>
          </p:nvPr>
        </p:nvSpPr>
        <p:spPr>
          <a:xfrm>
            <a:off x="6699105" y="5443901"/>
            <a:ext cx="5232580" cy="672075"/>
          </a:xfrm>
        </p:spPr>
        <p:txBody>
          <a:bodyPr/>
          <a:lstStyle>
            <a:lvl1pPr>
              <a:defRPr sz="186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ynopsis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4 pt</a:t>
            </a:r>
          </a:p>
        </p:txBody>
      </p:sp>
      <p:sp>
        <p:nvSpPr>
          <p:cNvPr id="30" name="Espace réservé du texte 10"/>
          <p:cNvSpPr>
            <a:spLocks noGrp="1"/>
          </p:cNvSpPr>
          <p:nvPr>
            <p:ph type="body" sz="quarter" idx="20" hasCustomPrompt="1"/>
          </p:nvPr>
        </p:nvSpPr>
        <p:spPr>
          <a:xfrm>
            <a:off x="6240017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4"/>
              </a:buClr>
              <a:buFont typeface="+mj-lt"/>
              <a:buAutoNum type="arabicPeriod" startAt="4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2" name="Espace réservé du texte 10"/>
          <p:cNvSpPr>
            <a:spLocks noGrp="1"/>
          </p:cNvSpPr>
          <p:nvPr>
            <p:ph type="body" sz="quarter" idx="21" hasCustomPrompt="1"/>
          </p:nvPr>
        </p:nvSpPr>
        <p:spPr>
          <a:xfrm>
            <a:off x="303614" y="1268760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1"/>
              </a:buClr>
              <a:buFont typeface="+mj-lt"/>
              <a:buAutoNum type="arabicPeriod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3" name="Espace réservé du texte 10"/>
          <p:cNvSpPr>
            <a:spLocks noGrp="1"/>
          </p:cNvSpPr>
          <p:nvPr>
            <p:ph type="body" sz="quarter" idx="22" hasCustomPrompt="1"/>
          </p:nvPr>
        </p:nvSpPr>
        <p:spPr>
          <a:xfrm>
            <a:off x="303614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2"/>
              </a:buClr>
              <a:buFont typeface="+mj-lt"/>
              <a:buAutoNum type="arabicPeriod" startAt="2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4" name="Espace réservé du texte 10"/>
          <p:cNvSpPr>
            <a:spLocks noGrp="1"/>
          </p:cNvSpPr>
          <p:nvPr>
            <p:ph type="body" sz="quarter" idx="23" hasCustomPrompt="1"/>
          </p:nvPr>
        </p:nvSpPr>
        <p:spPr>
          <a:xfrm>
            <a:off x="303614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3"/>
              </a:buClr>
              <a:buFont typeface="+mj-lt"/>
              <a:buAutoNum type="arabicPeriod" startAt="3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5" name="Espace réservé du texte 10"/>
          <p:cNvSpPr>
            <a:spLocks noGrp="1"/>
          </p:cNvSpPr>
          <p:nvPr>
            <p:ph type="body" sz="quarter" idx="24" hasCustomPrompt="1"/>
          </p:nvPr>
        </p:nvSpPr>
        <p:spPr>
          <a:xfrm>
            <a:off x="6261150" y="4725144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6"/>
              </a:buClr>
              <a:buFont typeface="+mj-lt"/>
              <a:buAutoNum type="arabicPeriod" startAt="6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6" name="Espace réservé du texte 10"/>
          <p:cNvSpPr>
            <a:spLocks noGrp="1"/>
          </p:cNvSpPr>
          <p:nvPr>
            <p:ph type="body" sz="quarter" idx="25" hasCustomPrompt="1"/>
          </p:nvPr>
        </p:nvSpPr>
        <p:spPr>
          <a:xfrm>
            <a:off x="6261150" y="2996952"/>
            <a:ext cx="5691668" cy="672075"/>
          </a:xfrm>
        </p:spPr>
        <p:txBody>
          <a:bodyPr/>
          <a:lstStyle>
            <a:lvl1pPr marL="457189" indent="-457189">
              <a:lnSpc>
                <a:spcPct val="90000"/>
              </a:lnSpc>
              <a:buClr>
                <a:schemeClr val="accent5"/>
              </a:buClr>
              <a:buFont typeface="+mj-lt"/>
              <a:buAutoNum type="arabicPeriod" startAt="5"/>
              <a:defRPr lang="fr-FR" sz="24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chapter</a:t>
            </a:r>
            <a:r>
              <a:rPr lang="fr-FR" dirty="0"/>
              <a:t> on one</a:t>
            </a:r>
            <a:br>
              <a:rPr lang="fr-FR" dirty="0"/>
            </a:br>
            <a:r>
              <a:rPr lang="fr-FR" dirty="0"/>
              <a:t>or </a:t>
            </a:r>
            <a:r>
              <a:rPr lang="fr-FR" dirty="0" err="1"/>
              <a:t>two</a:t>
            </a:r>
            <a:r>
              <a:rPr lang="fr-FR" dirty="0"/>
              <a:t> line(s) – Arial 18 pt</a:t>
            </a:r>
          </a:p>
        </p:txBody>
      </p:sp>
      <p:sp>
        <p:nvSpPr>
          <p:cNvPr id="37" name="Rectangle 36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38" name="Image 3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grpSp>
        <p:nvGrpSpPr>
          <p:cNvPr id="6" name="Group 19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2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2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26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2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2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3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39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40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41" name="Rectangle 40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2" name="Rectangle 41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Rectangle 42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Rectangle 43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565786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8205216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pter_white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hasCustomPrompt="1"/>
          </p:nvPr>
        </p:nvSpPr>
        <p:spPr>
          <a:xfrm>
            <a:off x="287355" y="2756455"/>
            <a:ext cx="11664951" cy="1345092"/>
          </a:xfrm>
        </p:spPr>
        <p:txBody>
          <a:bodyPr anchor="ctr"/>
          <a:lstStyle>
            <a:lvl1pPr marL="715415" indent="-715415">
              <a:defRPr sz="4000"/>
            </a:lvl1pPr>
          </a:lstStyle>
          <a:p>
            <a:r>
              <a:rPr lang="en-US" noProof="0" dirty="0"/>
              <a:t>Title of the chapter on one </a:t>
            </a:r>
            <a:br>
              <a:rPr lang="en-US" noProof="0" dirty="0"/>
            </a:br>
            <a:r>
              <a:rPr lang="en-US" noProof="0" dirty="0"/>
              <a:t>or two line(s) – Arial bold 3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869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0" name="Espace réservé du numéro de diapositive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EE2633B2-7B62-A747-9286-02717BA9355C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6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11617291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073381519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0" y="1126067"/>
            <a:ext cx="11667068" cy="494322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769370AA-1DA9-2240-B2AC-1E6F34CE8357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566465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ictur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85752" y="211666"/>
            <a:ext cx="11667065" cy="5856817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32392C0E-67CC-6D44-B327-E4DE574E0C2B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83377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icture_full_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grpSp>
        <p:nvGrpSpPr>
          <p:cNvPr id="2" name="Group 2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5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7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8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9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0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1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2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2312834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icture_full_screen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1" y="0"/>
            <a:ext cx="12181183" cy="6858000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5" hasCustomPrompt="1"/>
          </p:nvPr>
        </p:nvSpPr>
        <p:spPr>
          <a:xfrm>
            <a:off x="2927987" y="2660651"/>
            <a:ext cx="6336027" cy="1631949"/>
          </a:xfrm>
        </p:spPr>
        <p:txBody>
          <a:bodyPr anchor="ctr"/>
          <a:lstStyle>
            <a:lvl1pPr algn="ctr">
              <a:defRPr b="1"/>
            </a:lvl1pPr>
          </a:lstStyle>
          <a:p>
            <a:pPr lvl="0"/>
            <a:r>
              <a:rPr lang="en-US" noProof="0" dirty="0"/>
              <a:t>Text on picture</a:t>
            </a:r>
            <a:br>
              <a:rPr lang="en-US" noProof="0" dirty="0"/>
            </a:br>
            <a:r>
              <a:rPr lang="en-US" noProof="0" dirty="0"/>
              <a:t>in black or white according to background</a:t>
            </a:r>
          </a:p>
        </p:txBody>
      </p:sp>
      <p:grpSp>
        <p:nvGrpSpPr>
          <p:cNvPr id="2" name="Group 4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6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7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8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9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0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1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13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15152620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4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16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B5BC9068-6479-4A49-8896-61513EE21EE8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7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405901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A7AB830D-2946-6742-9791-EA47EC6A8495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4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87356" y="1126068"/>
            <a:ext cx="3984609" cy="4942416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6" name="Titre 5"/>
          <p:cNvSpPr>
            <a:spLocks noGrp="1"/>
          </p:cNvSpPr>
          <p:nvPr>
            <p:ph type="title" hasCustomPrompt="1"/>
          </p:nvPr>
        </p:nvSpPr>
        <p:spPr>
          <a:xfrm>
            <a:off x="287355" y="227368"/>
            <a:ext cx="11665296" cy="816089"/>
          </a:xfrm>
        </p:spPr>
        <p:txBody>
          <a:bodyPr/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fr-FR" dirty="0"/>
          </a:p>
        </p:txBody>
      </p:sp>
      <p:sp>
        <p:nvSpPr>
          <p:cNvPr id="17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1124745"/>
            <a:ext cx="7489279" cy="4943740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328769696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_Pictur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09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287355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</p:spTree>
    <p:extLst>
      <p:ext uri="{BB962C8B-B14F-4D97-AF65-F5344CB8AC3E}">
        <p14:creationId xmlns:p14="http://schemas.microsoft.com/office/powerpoint/2010/main" val="145937781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icture_lef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098FBC0A-7B3B-964B-994F-B1DC2008E9A2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5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16" hasCustomPrompt="1"/>
          </p:nvPr>
        </p:nvSpPr>
        <p:spPr>
          <a:xfrm>
            <a:off x="4463819" y="211075"/>
            <a:ext cx="7489279" cy="5857411"/>
          </a:xfrm>
        </p:spPr>
        <p:txBody>
          <a:bodyPr/>
          <a:lstStyle/>
          <a:p>
            <a:pPr lvl="0"/>
            <a:r>
              <a:rPr lang="en-US" noProof="0" dirty="0"/>
              <a:t>Text level 1 – Arial regular 16pt</a:t>
            </a:r>
          </a:p>
          <a:p>
            <a:pPr lvl="1"/>
            <a:r>
              <a:rPr lang="en-US" noProof="0" dirty="0"/>
              <a:t>Text level 1 – Arial regular 16pt </a:t>
            </a:r>
          </a:p>
          <a:p>
            <a:pPr lvl="2"/>
            <a:r>
              <a:rPr lang="en-US" noProof="0" dirty="0"/>
              <a:t>Text level 2 – Arial regular 14pt</a:t>
            </a:r>
          </a:p>
          <a:p>
            <a:pPr lvl="3"/>
            <a:r>
              <a:rPr lang="en-US" noProof="0" dirty="0"/>
              <a:t>Text level 2 – Arial regular 14pt</a:t>
            </a:r>
          </a:p>
        </p:txBody>
      </p:sp>
      <p:sp>
        <p:nvSpPr>
          <p:cNvPr id="7" name="Espace réservé pour une image 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287356" y="212644"/>
            <a:ext cx="3984609" cy="5855841"/>
          </a:xfrm>
        </p:spPr>
        <p:txBody>
          <a:bodyPr tIns="720000" anchor="ctr" anchorCtr="0"/>
          <a:lstStyle>
            <a:lvl1pPr algn="ctr">
              <a:defRPr/>
            </a:lvl1pPr>
          </a:lstStyle>
          <a:p>
            <a:r>
              <a:rPr lang="en-US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00774280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4594647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823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itle of the presentation</a:t>
            </a:r>
          </a:p>
          <a:p>
            <a:pPr lvl="1"/>
            <a:r>
              <a:rPr lang="en-US" noProof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58087677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951" y="-1"/>
            <a:ext cx="12174097" cy="6858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27075" y="432011"/>
            <a:ext cx="11137900" cy="2976033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755" b="1">
                <a:solidFill>
                  <a:schemeClr val="bg1"/>
                </a:solidFill>
              </a:defRPr>
            </a:lvl1pPr>
            <a:lvl2pPr marL="0" indent="0">
              <a:lnSpc>
                <a:spcPct val="95000"/>
              </a:lnSpc>
              <a:buNone/>
              <a:defRPr sz="2041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itle of the chapter</a:t>
            </a:r>
          </a:p>
        </p:txBody>
      </p:sp>
    </p:spTree>
    <p:extLst>
      <p:ext uri="{BB962C8B-B14F-4D97-AF65-F5344CB8AC3E}">
        <p14:creationId xmlns:p14="http://schemas.microsoft.com/office/powerpoint/2010/main" val="2339132576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75" y="1653120"/>
            <a:ext cx="11137900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3584165699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1701802"/>
            <a:ext cx="11137900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02511464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27075" y="520703"/>
            <a:ext cx="11137900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981398673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46868" y="6307223"/>
            <a:ext cx="9350774" cy="336550"/>
          </a:xfrm>
          <a:prstGeom prst="rect">
            <a:avLst/>
          </a:prstGeom>
        </p:spPr>
        <p:txBody>
          <a:bodyPr anchor="b"/>
          <a:lstStyle>
            <a:lvl1pPr algn="r">
              <a:defRPr sz="1020"/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1653120"/>
            <a:ext cx="7153125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9836653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ictur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noProof="0"/>
              <a:t>00.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02794" y="452966"/>
            <a:ext cx="10562167" cy="863600"/>
          </a:xfrm>
        </p:spPr>
        <p:txBody>
          <a:bodyPr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143" b="1"/>
            </a:lvl1pPr>
          </a:lstStyle>
          <a:p>
            <a:pPr lvl="0"/>
            <a:r>
              <a:rPr lang="en-US" noProof="0"/>
              <a:t>Title of the slide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4511825" y="1653120"/>
            <a:ext cx="7153125" cy="3888316"/>
          </a:xfrm>
        </p:spPr>
        <p:txBody>
          <a:bodyPr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528023" y="1701802"/>
            <a:ext cx="3696743" cy="4176184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671328105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3" name="Espace réservé du pied de page 12"/>
          <p:cNvSpPr>
            <a:spLocks noGrp="1"/>
          </p:cNvSpPr>
          <p:nvPr>
            <p:ph type="ftr" sz="quarter" idx="12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/>
          <a:lstStyle/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 hasCustomPrompt="1"/>
          </p:nvPr>
        </p:nvSpPr>
        <p:spPr bwMode="gray">
          <a:xfrm>
            <a:off x="527052" y="452982"/>
            <a:ext cx="7153125" cy="5088465"/>
          </a:xfrm>
        </p:spPr>
        <p:txBody>
          <a:bodyPr tIns="7199"/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9" name="Espace réservé pour une image  3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968231" y="520703"/>
            <a:ext cx="3696743" cy="5357283"/>
          </a:xfrm>
        </p:spPr>
        <p:txBody>
          <a:bodyPr tIns="719674" anchor="ctr" anchorCtr="0"/>
          <a:lstStyle>
            <a:lvl1pPr algn="ctr">
              <a:defRPr/>
            </a:lvl1pPr>
          </a:lstStyle>
          <a:p>
            <a:r>
              <a:rPr lang="en-US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2255526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17919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43956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29787071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383959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08876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95739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15809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632639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62844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03717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413837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034716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715776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83891184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1404168" y="296561"/>
            <a:ext cx="9093960" cy="334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 cap="all" baseline="0">
                <a:solidFill>
                  <a:schemeClr val="accent6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pt-PT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403869" y="655869"/>
            <a:ext cx="9094259" cy="371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endParaRPr lang="pt-PT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6983113"/>
            <a:ext cx="3028950" cy="512762"/>
            <a:chOff x="-17122" y="6915827"/>
            <a:chExt cx="3502889" cy="448798"/>
          </a:xfrm>
        </p:grpSpPr>
        <p:sp>
          <p:nvSpPr>
            <p:cNvPr id="14" name="Rectangle 13"/>
            <p:cNvSpPr/>
            <p:nvPr/>
          </p:nvSpPr>
          <p:spPr>
            <a:xfrm>
              <a:off x="-17122" y="6915827"/>
              <a:ext cx="617624" cy="448798"/>
            </a:xfrm>
            <a:prstGeom prst="rect">
              <a:avLst/>
            </a:prstGeom>
            <a:solidFill>
              <a:srgbClr val="0099AB"/>
            </a:solidFill>
            <a:ln>
              <a:solidFill>
                <a:srgbClr val="0099A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153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171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4194" y="6915827"/>
              <a:ext cx="617624" cy="448798"/>
            </a:xfrm>
            <a:prstGeom prst="rect">
              <a:avLst/>
            </a:prstGeom>
            <a:solidFill>
              <a:srgbClr val="3BC2D7"/>
            </a:solidFill>
            <a:ln>
              <a:solidFill>
                <a:srgbClr val="3BC2D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59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194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215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425510" y="6915827"/>
              <a:ext cx="617624" cy="448798"/>
            </a:xfrm>
            <a:prstGeom prst="rect">
              <a:avLst/>
            </a:prstGeom>
            <a:solidFill>
              <a:srgbClr val="005884"/>
            </a:solidFill>
            <a:ln>
              <a:solidFill>
                <a:srgbClr val="00588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88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132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146826" y="6915827"/>
              <a:ext cx="617624" cy="448798"/>
            </a:xfrm>
            <a:prstGeom prst="rect">
              <a:avLst/>
            </a:prstGeom>
            <a:solidFill>
              <a:srgbClr val="002E48"/>
            </a:solidFill>
            <a:ln>
              <a:solidFill>
                <a:srgbClr val="002E4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0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4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2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868143" y="6915827"/>
              <a:ext cx="617624" cy="448798"/>
            </a:xfrm>
            <a:prstGeom prst="rect">
              <a:avLst/>
            </a:prstGeom>
            <a:solidFill>
              <a:srgbClr val="4C4C4E"/>
            </a:solidFill>
            <a:ln>
              <a:solidFill>
                <a:srgbClr val="4C4C4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R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G 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76</a:t>
              </a:r>
            </a:p>
            <a:p>
              <a:r>
                <a:rPr lang="pt-PT" sz="1000" b="1" dirty="0">
                  <a:solidFill>
                    <a:prstClr val="white"/>
                  </a:solidFill>
                  <a:cs typeface="Arial" panose="020B0604020202020204" pitchFamily="34" charset="0"/>
                </a:rPr>
                <a:t>B</a:t>
              </a:r>
              <a:r>
                <a:rPr lang="pt-PT" sz="1000" dirty="0">
                  <a:solidFill>
                    <a:prstClr val="white"/>
                  </a:solidFill>
                  <a:cs typeface="Arial" panose="020B0604020202020204" pitchFamily="34" charset="0"/>
                </a:rPr>
                <a:t> 7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239493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63027-B0F0-43C5-88B2-DBB63AB8EE46}" type="slidenum">
              <a:rPr lang="pt-PT" smtClean="0"/>
              <a:pPr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3958944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image" Target="../media/image7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843C60-23BE-4880-ACAC-0BF3CCF76A50}" type="datetimeFigureOut">
              <a:rPr lang="pt-PT" smtClean="0"/>
              <a:pPr/>
              <a:t>11/09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F794DCE-AFB5-49E4-B59C-3D2EE94DD5E1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44477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263090" y="6362136"/>
            <a:ext cx="10681449" cy="912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733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gray">
          <a:xfrm>
            <a:off x="269243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616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2"/>
        </a:buClr>
        <a:buFont typeface="+mj-lt"/>
        <a:buAutoNum type="arabicPeriod" startAt="2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of the slide on one </a:t>
            </a:r>
            <a:br>
              <a:rPr lang="en-US" noProof="0" dirty="0"/>
            </a:br>
            <a:r>
              <a:rPr lang="en-US" noProof="0" dirty="0"/>
              <a:t>or two line(s) – Arial bold 20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258161" y="6357325"/>
            <a:ext cx="11137900" cy="91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3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4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5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7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295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3"/>
        </a:buClr>
        <a:buFont typeface="+mj-lt"/>
        <a:buAutoNum type="arabicPeriod" startAt="3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87355" y="227368"/>
            <a:ext cx="11665296" cy="81608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Title of the slide on one </a:t>
            </a:r>
            <a:br>
              <a:rPr lang="en-US" noProof="0"/>
            </a:br>
            <a:r>
              <a:rPr lang="en-US" noProof="0"/>
              <a:t>or two line(s) – Arial bold 20 pt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287355" y="1124744"/>
            <a:ext cx="11665296" cy="4944549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 – Arial regular 16pt</a:t>
            </a:r>
          </a:p>
          <a:p>
            <a:pPr lvl="1"/>
            <a:r>
              <a:rPr lang="en-US" noProof="0"/>
              <a:t>Text level 1 – Arial regular 16pt </a:t>
            </a:r>
          </a:p>
          <a:p>
            <a:pPr lvl="2"/>
            <a:r>
              <a:rPr lang="en-US" noProof="0"/>
              <a:t>Text level 2 – Arial regular 14pt</a:t>
            </a:r>
          </a:p>
          <a:p>
            <a:pPr lvl="3"/>
            <a:r>
              <a:rPr lang="en-US" noProof="0"/>
              <a:t>Text level 2 – Arial regular 14p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271859" y="6404819"/>
            <a:ext cx="575733" cy="336549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467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5456" y="6132135"/>
            <a:ext cx="595200" cy="657239"/>
          </a:xfrm>
          <a:prstGeom prst="rect">
            <a:avLst/>
          </a:prstGeom>
        </p:spPr>
      </p:pic>
      <p:sp>
        <p:nvSpPr>
          <p:cNvPr id="9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0080443" y="6387222"/>
            <a:ext cx="87658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 smtClean="0"/>
            </a:lvl1pPr>
          </a:lstStyle>
          <a:p>
            <a:pPr algn="r"/>
            <a:fld id="{4E049887-E100-3441-B5F4-B6EE3FCB7684}" type="datetime1">
              <a:rPr lang="en-US">
                <a:solidFill>
                  <a:prstClr val="black"/>
                </a:solidFill>
              </a:rPr>
              <a:pPr algn="r"/>
              <a:t>9/11/2023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3"/>
          </p:nvPr>
        </p:nvSpPr>
        <p:spPr>
          <a:xfrm>
            <a:off x="1967542" y="6387222"/>
            <a:ext cx="8112901" cy="366183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>
            <a:lvl1pPr>
              <a:defRPr lang="fr-FR" sz="1067"/>
            </a:lvl1pPr>
          </a:lstStyle>
          <a:p>
            <a:pPr algn="r"/>
            <a:r>
              <a:rPr lang="en-US">
                <a:solidFill>
                  <a:prstClr val="black"/>
                </a:solidFill>
              </a:rPr>
              <a:t>Title of the presentation (Footer can be personalized as follow: Insert / Header and footer) </a:t>
            </a:r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4" name="Group 10"/>
          <p:cNvGrpSpPr/>
          <p:nvPr/>
        </p:nvGrpSpPr>
        <p:grpSpPr>
          <a:xfrm>
            <a:off x="-845535" y="206008"/>
            <a:ext cx="13883069" cy="6391344"/>
            <a:chOff x="-612582" y="154506"/>
            <a:chExt cx="10412302" cy="4793508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>
              <a:off x="-612576" y="1380080"/>
              <a:ext cx="547317" cy="504000"/>
            </a:xfrm>
            <a:prstGeom prst="rect">
              <a:avLst/>
            </a:prstGeom>
            <a:solidFill>
              <a:srgbClr val="E31D1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6</a:t>
              </a:r>
            </a:p>
          </p:txBody>
        </p:sp>
        <p:sp>
          <p:nvSpPr>
            <p:cNvPr id="13" name="Rectangle 5"/>
            <p:cNvSpPr>
              <a:spLocks noChangeArrowheads="1"/>
            </p:cNvSpPr>
            <p:nvPr userDrawn="1"/>
          </p:nvSpPr>
          <p:spPr bwMode="auto">
            <a:xfrm>
              <a:off x="-612576" y="1992867"/>
              <a:ext cx="547317" cy="504000"/>
            </a:xfrm>
            <a:prstGeom prst="rect">
              <a:avLst/>
            </a:prstGeom>
            <a:solidFill>
              <a:srgbClr val="FF7F3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7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50</a:t>
              </a:r>
            </a:p>
          </p:txBody>
        </p:sp>
        <p:sp>
          <p:nvSpPr>
            <p:cNvPr id="14" name="Rectangle 8"/>
            <p:cNvSpPr>
              <a:spLocks noChangeArrowheads="1"/>
            </p:cNvSpPr>
            <p:nvPr userDrawn="1"/>
          </p:nvSpPr>
          <p:spPr bwMode="auto">
            <a:xfrm>
              <a:off x="-612582" y="2605654"/>
              <a:ext cx="547316" cy="504000"/>
            </a:xfrm>
            <a:prstGeom prst="rect">
              <a:avLst/>
            </a:prstGeom>
            <a:solidFill>
              <a:srgbClr val="FFC72C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9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44</a:t>
              </a:r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-612576" y="3218441"/>
              <a:ext cx="547317" cy="504000"/>
            </a:xfrm>
            <a:prstGeom prst="rect">
              <a:avLst/>
            </a:prstGeom>
            <a:solidFill>
              <a:srgbClr val="00AA5A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7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90</a:t>
              </a:r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-612576" y="3831228"/>
              <a:ext cx="547317" cy="504000"/>
            </a:xfrm>
            <a:prstGeom prst="rect">
              <a:avLst/>
            </a:prstGeom>
            <a:solidFill>
              <a:srgbClr val="3CDBC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6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219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192</a:t>
              </a:r>
            </a:p>
          </p:txBody>
        </p:sp>
        <p:sp>
          <p:nvSpPr>
            <p:cNvPr id="19" name="Rectangle 2"/>
            <p:cNvSpPr>
              <a:spLocks noChangeArrowheads="1"/>
            </p:cNvSpPr>
            <p:nvPr userDrawn="1"/>
          </p:nvSpPr>
          <p:spPr bwMode="auto">
            <a:xfrm>
              <a:off x="-612576" y="154506"/>
              <a:ext cx="547317" cy="504000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0</a:t>
              </a:r>
            </a:p>
          </p:txBody>
        </p:sp>
        <p:sp>
          <p:nvSpPr>
            <p:cNvPr id="20" name="Rectangle 5"/>
            <p:cNvSpPr>
              <a:spLocks noChangeArrowheads="1"/>
            </p:cNvSpPr>
            <p:nvPr userDrawn="1"/>
          </p:nvSpPr>
          <p:spPr bwMode="auto">
            <a:xfrm>
              <a:off x="-612576" y="767293"/>
              <a:ext cx="547317" cy="50400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R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G 255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B 255</a:t>
              </a:r>
            </a:p>
          </p:txBody>
        </p:sp>
        <p:sp>
          <p:nvSpPr>
            <p:cNvPr id="21" name="Rectangle 11"/>
            <p:cNvSpPr>
              <a:spLocks noChangeArrowheads="1"/>
            </p:cNvSpPr>
            <p:nvPr userDrawn="1"/>
          </p:nvSpPr>
          <p:spPr bwMode="auto">
            <a:xfrm>
              <a:off x="-612576" y="4444014"/>
              <a:ext cx="547317" cy="504000"/>
            </a:xfrm>
            <a:prstGeom prst="rect">
              <a:avLst/>
            </a:prstGeom>
            <a:solidFill>
              <a:srgbClr val="007BD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R 0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G 123</a:t>
              </a:r>
            </a:p>
            <a:p>
              <a:pPr eaLnBrk="0" hangingPunct="0">
                <a:defRPr/>
              </a:pPr>
              <a:r>
                <a:rPr lang="en-US" sz="1200" kern="0" dirty="0">
                  <a:solidFill>
                    <a:srgbClr val="FFFFFF"/>
                  </a:solidFill>
                  <a:cs typeface="Arial" pitchFamily="34" charset="0"/>
                </a:rPr>
                <a:t>B 223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252520" y="260565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252520" y="3218441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252520" y="4444014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252520" y="3831228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252520" y="1380080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5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9252520" y="1992867"/>
              <a:ext cx="547200" cy="504000"/>
            </a:xfrm>
            <a:prstGeom prst="rect">
              <a:avLst/>
            </a:prstGeom>
            <a:gradFill flip="none" rotWithShape="1">
              <a:gsLst>
                <a:gs pos="0">
                  <a:schemeClr val="accent6"/>
                </a:gs>
                <a:gs pos="100000">
                  <a:schemeClr val="bg1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sp>
        <p:nvSpPr>
          <p:cNvPr id="28" name="Rectangle 27"/>
          <p:cNvSpPr/>
          <p:nvPr userDrawn="1"/>
        </p:nvSpPr>
        <p:spPr bwMode="gray">
          <a:xfrm rot="10800000">
            <a:off x="268111" y="6360951"/>
            <a:ext cx="11137900" cy="927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228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</p:sldLayoutIdLst>
  <p:transition/>
  <p:hf hdr="0"/>
  <p:txStyles>
    <p:titleStyle>
      <a:lvl1pPr marL="472006" indent="-472006" algn="l" defTabSz="1219170" rtl="0" eaLnBrk="1" latinLnBrk="0" hangingPunct="1">
        <a:lnSpc>
          <a:spcPct val="90000"/>
        </a:lnSpc>
        <a:spcBef>
          <a:spcPct val="0"/>
        </a:spcBef>
        <a:buClr>
          <a:schemeClr val="accent1"/>
        </a:buClr>
        <a:buFont typeface="+mj-lt"/>
        <a:buAutoNum type="arabicPeriod"/>
        <a:defRPr sz="2667" b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itchFamily="34" charset="0"/>
        <a:buNone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353475" indent="249760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840296" indent="-237061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867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234945" algn="l" defTabSz="121917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11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5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527052" y="452974"/>
            <a:ext cx="576395" cy="8637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00.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527075" y="1653120"/>
            <a:ext cx="11137900" cy="38883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 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527052" y="6307223"/>
            <a:ext cx="575734" cy="336550"/>
          </a:xfrm>
          <a:prstGeom prst="rect">
            <a:avLst/>
          </a:prstGeom>
        </p:spPr>
        <p:txBody>
          <a:bodyPr vert="horz" lIns="0" tIns="0" rIns="0" bIns="3600" rtlCol="0" anchor="b" anchorCtr="0">
            <a:noAutofit/>
          </a:bodyPr>
          <a:lstStyle>
            <a:lvl1pPr algn="l">
              <a:defRPr sz="1020" b="1">
                <a:solidFill>
                  <a:schemeClr val="tx1"/>
                </a:solidFill>
              </a:defRPr>
            </a:lvl1pPr>
          </a:lstStyle>
          <a:p>
            <a:pPr defTabSz="932540"/>
            <a:fld id="{733122C9-A0B9-462F-8757-0847AD287B63}" type="slidenum">
              <a:rPr lang="en-US" smtClean="0">
                <a:solidFill>
                  <a:prstClr val="black"/>
                </a:solidFill>
              </a:rPr>
              <a:pPr defTabSz="93254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706" y="6026616"/>
            <a:ext cx="595200" cy="657239"/>
          </a:xfrm>
          <a:prstGeom prst="rect">
            <a:avLst/>
          </a:prstGeom>
        </p:spPr>
      </p:pic>
      <p:sp>
        <p:nvSpPr>
          <p:cNvPr id="11" name="Espace réservé du pied de page 12"/>
          <p:cNvSpPr>
            <a:spLocks noGrp="1"/>
          </p:cNvSpPr>
          <p:nvPr>
            <p:ph type="ftr" sz="quarter" idx="3"/>
          </p:nvPr>
        </p:nvSpPr>
        <p:spPr bwMode="gray">
          <a:xfrm>
            <a:off x="1200155" y="6307223"/>
            <a:ext cx="9350774" cy="336550"/>
          </a:xfrm>
          <a:prstGeom prst="rect">
            <a:avLst/>
          </a:prstGeom>
        </p:spPr>
        <p:txBody>
          <a:bodyPr lIns="91398" tIns="45699" rIns="91398" bIns="45699" anchor="b"/>
          <a:lstStyle>
            <a:lvl1pPr marL="0" algn="r" defTabSz="932540" rtl="0" eaLnBrk="1" latinLnBrk="0" hangingPunct="1">
              <a:defRPr lang="en-US" sz="10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pt-PT" dirty="0">
                <a:solidFill>
                  <a:prstClr val="black"/>
                </a:solidFill>
              </a:rPr>
              <a:t>B2C VAI MAIS LONGE EM 2018</a:t>
            </a:r>
          </a:p>
        </p:txBody>
      </p:sp>
    </p:spTree>
    <p:extLst>
      <p:ext uri="{BB962C8B-B14F-4D97-AF65-F5344CB8AC3E}">
        <p14:creationId xmlns:p14="http://schemas.microsoft.com/office/powerpoint/2010/main" val="2729473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</p:sldLayoutIdLst>
  <p:transition/>
  <p:hf hdr="0" dt="0"/>
  <p:txStyles>
    <p:titleStyle>
      <a:lvl1pPr algn="l" defTabSz="932540" rtl="0" eaLnBrk="1" latinLnBrk="0" hangingPunct="1">
        <a:lnSpc>
          <a:spcPct val="95000"/>
        </a:lnSpc>
        <a:spcBef>
          <a:spcPct val="0"/>
        </a:spcBef>
        <a:buNone/>
        <a:defRPr sz="2143" b="1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itchFamily="34" charset="0"/>
        <a:buNone/>
        <a:defRPr sz="1632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146856" algn="l" defTabSz="932540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"/>
        <a:defRPr sz="1632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Wingdings 2" panose="05020102010507070707" pitchFamily="18" charset="2"/>
        <a:buChar char=""/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422212" indent="146856" algn="l" defTabSz="93254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SzPct val="50000"/>
        <a:buFont typeface="Arial" panose="020B0604020202020204" pitchFamily="34" charset="0"/>
        <a:buChar char="▬"/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256448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6pPr>
      <a:lvl7pPr marL="3030754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7pPr>
      <a:lvl8pPr marL="3497025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8pPr>
      <a:lvl9pPr marL="3963297" indent="-233134" algn="l" defTabSz="932540" rtl="0" eaLnBrk="1" latinLnBrk="0" hangingPunct="1">
        <a:spcBef>
          <a:spcPct val="20000"/>
        </a:spcBef>
        <a:buFont typeface="Arial" pitchFamily="34" charset="0"/>
        <a:buChar char="•"/>
        <a:defRPr sz="20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272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54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880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08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1350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7619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3891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0163" algn="l" defTabSz="932540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D19027-7697-47A5-9D0A-D81E84DA452D}" type="datetimeFigureOut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11/09/2023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032A4B-76CC-43E9-A753-67282F63485F}" type="slidenum">
              <a:rPr lang="pt-P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t-P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974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</p:sldLayoutIdLst>
  <p:transition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lticelabs.com/site/innovationaward/rules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D19E1B1C-2330-6EA5-EB3D-F4E88A3CE0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797" y="1537712"/>
            <a:ext cx="10692406" cy="3782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89103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160330" cy="4308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Born from Knowledge (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gramm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a scientific and technological Knowledge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orisation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gramm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promoted by the Portuguese National Innovation Agency (ANI).  Through the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wards, ANI intends to distinguish projects that are “born from Knowledge”, as well as companies that stand out in terms of Research &amp; Development (R&amp;D) activities, in innovation competitions and awards that already exist in Portugal.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ease identify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members in the founder team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PhDs in the founder team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mber of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s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in the founder team;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te:</a:t>
            </a:r>
          </a:p>
          <a:p>
            <a:pPr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case the application becomes one of the AIIA shortlisted Portuguese Startups or Portuguese students eligible to receive the BFK Award:</a:t>
            </a:r>
          </a:p>
          <a:p>
            <a:pPr lvl="2"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. the founder team’s resume must be provided after the shortlist has been announced</a:t>
            </a:r>
          </a:p>
          <a:p>
            <a:pPr lvl="2">
              <a:lnSpc>
                <a:spcPct val="150000"/>
              </a:lnSpc>
            </a:pP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I. it will be granted the chance to the team to provide any other document or file that the team think might be insightful for the </a:t>
            </a:r>
            <a:r>
              <a:rPr lang="en-US" sz="11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11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wards’ jury</a:t>
            </a:r>
          </a:p>
        </p:txBody>
      </p:sp>
    </p:spTree>
    <p:extLst>
      <p:ext uri="{BB962C8B-B14F-4D97-AF65-F5344CB8AC3E}">
        <p14:creationId xmlns:p14="http://schemas.microsoft.com/office/powerpoint/2010/main" val="840080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1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reasons and activities that originated this project. Consider mentioning R&amp;D activities:</a:t>
            </a:r>
          </a:p>
        </p:txBody>
      </p:sp>
    </p:spTree>
    <p:extLst>
      <p:ext uri="{BB962C8B-B14F-4D97-AF65-F5344CB8AC3E}">
        <p14:creationId xmlns:p14="http://schemas.microsoft.com/office/powerpoint/2010/main" val="1792471798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2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is project’s collaborative processes and explain your collaboration strategies. For example, collaboration/partnerships with universities, research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ntres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0825869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.3 </a:t>
            </a:r>
            <a:r>
              <a:rPr lang="en-US" sz="40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fK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by A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project’s intellectual property and knowledge protection strategy:</a:t>
            </a:r>
          </a:p>
        </p:txBody>
      </p:sp>
    </p:spTree>
    <p:extLst>
      <p:ext uri="{BB962C8B-B14F-4D97-AF65-F5344CB8AC3E}">
        <p14:creationId xmlns:p14="http://schemas.microsoft.com/office/powerpoint/2010/main" val="2282690157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. Reasons to apply to the award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ighlight what type of synergies are you expecting to build or do you foresee with Altice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. Other relevant informa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ert other relevant information that you would like us to consider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424767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. Links for related informa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4207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this slide you should insert: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rtups only: link for “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ertidão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manente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” (or code to access it) for Portugal; OR any other legal document proving startup's creation date; OR statement informing startup is not </a:t>
            </a:r>
            <a:r>
              <a:rPr lang="en-US" sz="1400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et incorporated; </a:t>
            </a:r>
            <a:r>
              <a:rPr lang="en-US" sz="1400" i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1400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ademy only: link for valid document proving you are or recently were a PhD student in an University from Portugal; </a:t>
            </a:r>
            <a:r>
              <a:rPr lang="en-US" sz="14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your social media channels (when available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 for your website (when available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relevant news (when available) if not available in any other slide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k(s) for papers, articles or patents (when available) if not available in any other slide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ther relevant links to evaluate your project.</a:t>
            </a: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endParaRPr lang="en-US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 Mandatory information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endParaRPr lang="pt-PT" sz="14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2288932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sted-image.pdf" descr="pasted-image.pd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106152" y="-2302934"/>
            <a:ext cx="6836970" cy="6858001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TextBox 5"/>
          <p:cNvSpPr txBox="1"/>
          <p:nvPr/>
        </p:nvSpPr>
        <p:spPr>
          <a:xfrm>
            <a:off x="460646" y="5305460"/>
            <a:ext cx="8653010" cy="102592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defTabSz="825500" hangingPunct="0"/>
            <a:r>
              <a:rPr lang="en-US" sz="3000" b="1" dirty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ALTICE INTERNATIONAL INNOVATION AWARD</a:t>
            </a:r>
          </a:p>
          <a:p>
            <a:pPr defTabSz="825500" hangingPunct="0"/>
            <a:r>
              <a:rPr lang="en-US" sz="3000" dirty="0">
                <a:solidFill>
                  <a:srgbClr val="FFFFFF"/>
                </a:solidFill>
                <a:latin typeface="Arial" pitchFamily="34" charset="0"/>
                <a:ea typeface="Helvetica Neue"/>
                <a:cs typeface="Arial" pitchFamily="34" charset="0"/>
                <a:sym typeface="Helvetica Neue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240921699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efore your start, read the following guidelines: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2800" y="1066954"/>
            <a:ext cx="11061369" cy="31974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ad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3"/>
              </a:rPr>
              <a:t>our regulation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refully before filling in this document and submitting your entry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is document should be in English; </a:t>
            </a:r>
            <a:r>
              <a:rPr lang="en-US" sz="14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pt-PT" sz="1400" i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may add slides to this document (being about the same topic already covered by the current slides or about new topics you would like to address)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wever, the current ones must keep their sequence (although new ones may be added in the middle) and their title should not be changed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may change the layout of this document: colors, font, add images, </a:t>
            </a:r>
            <a:r>
              <a:rPr lang="en-US" sz="1400" i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tc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sz="1400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lides [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-13] (topic number 7</a:t>
            </a:r>
            <a:r>
              <a:rPr lang="en-US" sz="1400" i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 are only </a:t>
            </a: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datory for those who want to be eligible for the Born from Knowledge award;</a:t>
            </a:r>
          </a:p>
          <a:p>
            <a:pPr>
              <a:lnSpc>
                <a:spcPct val="150000"/>
              </a:lnSpc>
            </a:pPr>
            <a:endParaRPr lang="en-US" sz="1200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2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 Mandato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760938681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71400" y="2767281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sert the title of your project </a:t>
            </a:r>
            <a:r>
              <a:rPr lang="en-US" sz="4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 Project description and goal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project/product/service you are submitting, as well as its main goals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. Project use case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the main use cases of the project/product/service you are submitting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 Competitors identifica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who are the main competitors of the project/product/service you are submitting, as well as the main differences between your project/product/service and theirs by highlighting your competitive advantages.</a:t>
            </a:r>
            <a:endParaRPr lang="en-US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. Value proposition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698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dentify the most important features and characteristics of the project/product/service you are submitting in order to make it special, unique and be the one chosen by the market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. Business model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endParaRPr lang="en-US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xplain the business model of the project/product/service you are submitting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42800" y="464107"/>
            <a:ext cx="11649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. Growth potential and future perspectives </a:t>
            </a:r>
            <a:r>
              <a:rPr lang="en-US" sz="40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en-US" sz="4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79088" y="1286029"/>
            <a:ext cx="11061369" cy="375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cribe the growth potential of the project/product/service you are submitting. Also highlight the main future perspectives you have for it.</a:t>
            </a:r>
            <a:endParaRPr lang="pt-PT" sz="14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83993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4472C4"/>
      </a:hlink>
      <a:folHlink>
        <a:srgbClr val="7F7F7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ltice_16-9_us_june_17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3.xml><?xml version="1.0" encoding="utf-8"?>
<a:theme xmlns:a="http://schemas.openxmlformats.org/drawingml/2006/main" name="altice_16-9_green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BFBDC602-42D1-483E-BB02-45D1E3DDCD08}"/>
    </a:ext>
  </a:extLst>
</a:theme>
</file>

<file path=ppt/theme/theme4.xml><?xml version="1.0" encoding="utf-8"?>
<a:theme xmlns:a="http://schemas.openxmlformats.org/drawingml/2006/main" name="1_altice_16-9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5011EB0E-BD36-49B5-94D9-7B41E686316E}"/>
    </a:ext>
  </a:extLst>
</a:theme>
</file>

<file path=ppt/theme/theme5.xml><?xml version="1.0" encoding="utf-8"?>
<a:theme xmlns:a="http://schemas.openxmlformats.org/drawingml/2006/main" name="PPT_Altice_16x9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altice_16-9_us_june_17.potx [Read-Only]" id="{1635697B-A180-4DCC-859A-8A77D4CA2C3C}" vid="{DB94B646-FC2E-4153-9C40-B1E8A17C6503}"/>
    </a:ext>
  </a:extLst>
</a:theme>
</file>

<file path=ppt/theme/theme6.xml><?xml version="1.0" encoding="utf-8"?>
<a:theme xmlns:a="http://schemas.openxmlformats.org/drawingml/2006/main" name="altice_blue">
  <a:themeElements>
    <a:clrScheme name="Altice">
      <a:dk1>
        <a:sysClr val="windowText" lastClr="000000"/>
      </a:dk1>
      <a:lt1>
        <a:sysClr val="window" lastClr="FFFFFF"/>
      </a:lt1>
      <a:dk2>
        <a:srgbClr val="8E8E8E"/>
      </a:dk2>
      <a:lt2>
        <a:srgbClr val="FFFFFF"/>
      </a:lt2>
      <a:accent1>
        <a:srgbClr val="FFC72C"/>
      </a:accent1>
      <a:accent2>
        <a:srgbClr val="00AA5A"/>
      </a:accent2>
      <a:accent3>
        <a:srgbClr val="007BDF"/>
      </a:accent3>
      <a:accent4>
        <a:srgbClr val="3CDBC0"/>
      </a:accent4>
      <a:accent5>
        <a:srgbClr val="E31D1A"/>
      </a:accent5>
      <a:accent6>
        <a:srgbClr val="FF7F32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tx1"/>
          </a:solidFill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7.xml><?xml version="1.0" encoding="utf-8"?>
<a:theme xmlns:a="http://schemas.openxmlformats.org/drawingml/2006/main" name="2_Office Theme">
  <a:themeElements>
    <a:clrScheme name="Custom 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s xmlns="1941485d-ec02-437c-a9e1-406c74e71e15" xsi:nil="true"/>
    <lcf76f155ced4ddcb4097134ff3c332f xmlns="1941485d-ec02-437c-a9e1-406c74e71e15">
      <Terms xmlns="http://schemas.microsoft.com/office/infopath/2007/PartnerControls"/>
    </lcf76f155ced4ddcb4097134ff3c332f>
    <TaxCatchAll xmlns="003b8492-1e4e-4966-ba8a-217b64a5ddd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651A86EBA6B1CA439E3EB956558ED1C2" ma:contentTypeVersion="16" ma:contentTypeDescription="Criar um novo documento." ma:contentTypeScope="" ma:versionID="648ae488a6941d78311e7542d894ecb4">
  <xsd:schema xmlns:xsd="http://www.w3.org/2001/XMLSchema" xmlns:xs="http://www.w3.org/2001/XMLSchema" xmlns:p="http://schemas.microsoft.com/office/2006/metadata/properties" xmlns:ns2="1941485d-ec02-437c-a9e1-406c74e71e15" xmlns:ns3="003b8492-1e4e-4966-ba8a-217b64a5ddd1" targetNamespace="http://schemas.microsoft.com/office/2006/metadata/properties" ma:root="true" ma:fieldsID="f7e821f6df5b02a124ee162610d0abd0" ns2:_="" ns3:_="">
    <xsd:import namespace="1941485d-ec02-437c-a9e1-406c74e71e15"/>
    <xsd:import namespace="003b8492-1e4e-4966-ba8a-217b64a5ddd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Notes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41485d-ec02-437c-a9e1-406c74e71e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Etiquetas de Imagem" ma:readOnly="false" ma:fieldId="{5cf76f15-5ced-4ddc-b409-7134ff3c332f}" ma:taxonomyMulti="true" ma:sspId="b9b2d589-b1fa-4add-a8cc-36614dd1c29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Notes" ma:index="21" nillable="true" ma:displayName="Notes" ma:format="Dropdown" ma:internalName="Notes">
      <xsd:simpleType>
        <xsd:restriction base="dms:Note">
          <xsd:maxLength value="255"/>
        </xsd:restriction>
      </xsd:simpleType>
    </xsd:element>
    <xsd:element name="MediaServiceDateTaken" ma:index="2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3b8492-1e4e-4966-ba8a-217b64a5ddd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23bd7cc-8541-4ccf-b246-833badd7568d}" ma:internalName="TaxCatchAll" ma:showField="CatchAllData" ma:web="003b8492-1e4e-4966-ba8a-217b64a5ddd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ED1DFE-3323-47C1-9449-906F6FA10DDB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1941485d-ec02-437c-a9e1-406c74e71e15"/>
    <ds:schemaRef ds:uri="003b8492-1e4e-4966-ba8a-217b64a5ddd1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EE3E904-F539-4AF6-90FE-5D860B7635F3}"/>
</file>

<file path=customXml/itemProps3.xml><?xml version="1.0" encoding="utf-8"?>
<ds:datastoreItem xmlns:ds="http://schemas.openxmlformats.org/officeDocument/2006/customXml" ds:itemID="{D7D44BCF-1E00-401A-B71D-29D775935CE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37</TotalTime>
  <Words>779</Words>
  <Application>Microsoft Office PowerPoint</Application>
  <PresentationFormat>Widescreen</PresentationFormat>
  <Paragraphs>75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alibri Light</vt:lpstr>
      <vt:lpstr>Wingdings 2</vt:lpstr>
      <vt:lpstr>Office Theme</vt:lpstr>
      <vt:lpstr>altice_16-9_us_june_17</vt:lpstr>
      <vt:lpstr>altice_16-9_green</vt:lpstr>
      <vt:lpstr>1_altice_16-9_blue</vt:lpstr>
      <vt:lpstr>PPT_Altice_16x9</vt:lpstr>
      <vt:lpstr>altice_blu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a Patrícia Monteiro</dc:creator>
  <cp:lastModifiedBy>Luis Manuel Pereira Reis</cp:lastModifiedBy>
  <cp:revision>221</cp:revision>
  <dcterms:created xsi:type="dcterms:W3CDTF">2018-01-25T09:18:56Z</dcterms:created>
  <dcterms:modified xsi:type="dcterms:W3CDTF">2023-09-11T17:43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1A86EBA6B1CA439E3EB956558ED1C2</vt:lpwstr>
  </property>
  <property fmtid="{D5CDD505-2E9C-101B-9397-08002B2CF9AE}" pid="3" name="MediaServiceImageTags">
    <vt:lpwstr/>
  </property>
</Properties>
</file>